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7E7CFF-D286-AB38-3CDE-F76F12BD5613}" name="Donna Hourican" initials="DH" userId="S::d.hourican@ieee.org::29f2fc80-ea59-422d-a87e-64a867d55b0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5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6" autoAdjust="0"/>
    <p:restoredTop sz="94657" autoAdjust="0"/>
  </p:normalViewPr>
  <p:slideViewPr>
    <p:cSldViewPr snapToGrid="0">
      <p:cViewPr varScale="1">
        <p:scale>
          <a:sx n="71" d="100"/>
          <a:sy n="71" d="100"/>
        </p:scale>
        <p:origin x="1061" y="28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-2064"/>
    </p:cViewPr>
  </p:sorterViewPr>
  <p:notesViewPr>
    <p:cSldViewPr snapToGrid="0">
      <p:cViewPr varScale="1">
        <p:scale>
          <a:sx n="57" d="100"/>
          <a:sy n="57" d="100"/>
        </p:scale>
        <p:origin x="2516" y="52"/>
      </p:cViewPr>
      <p:guideLst/>
    </p:cSldViewPr>
  </p:notes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39</TotalTime>
  <Words>615</Words>
  <Application>Microsoft Office PowerPoint</Application>
  <PresentationFormat>Widescreen</PresentationFormat>
  <Paragraphs>75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Courier New</vt:lpstr>
      <vt:lpstr>EYInterstate Light</vt:lpstr>
      <vt:lpstr>LucidaGrande</vt:lpstr>
      <vt:lpstr>Poppins</vt:lpstr>
      <vt:lpstr>Wingdings</vt:lpstr>
      <vt:lpstr>7_Theme 1</vt:lpstr>
      <vt:lpstr>think-cell Slide</vt:lpstr>
      <vt:lpstr>2025 IEEE President Address </vt:lpstr>
      <vt:lpstr>One IEEE </vt:lpstr>
      <vt:lpstr>2025 Ad hoc Committees:</vt:lpstr>
      <vt:lpstr>Creating a Conduct                          Severity-Level Framework</vt:lpstr>
      <vt:lpstr>One IEEE Education          Strategy for Empowering Technical Innovation</vt:lpstr>
      <vt:lpstr>One IEEE for Students </vt:lpstr>
      <vt:lpstr>One IEEE to Enable Strategic Investments in Innovations and Public Imperative Activities</vt:lpstr>
      <vt:lpstr>The Conduct Review Committee’s Delegated Responsibilities </vt:lpstr>
      <vt:lpstr>PowerPoint Presentation</vt:lpstr>
      <vt:lpstr>PowerPoint Presentation</vt:lpstr>
      <vt:lpstr>Ongoing IEEE Strategic Planning</vt:lpstr>
      <vt:lpstr>PowerPoint Presentation</vt:lpstr>
      <vt:lpstr>Thank you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z McCarthy</dc:creator>
  <cp:lastModifiedBy>Pat Donohoe</cp:lastModifiedBy>
  <cp:revision>420</cp:revision>
  <cp:lastPrinted>2022-11-01T14:33:12Z</cp:lastPrinted>
  <dcterms:created xsi:type="dcterms:W3CDTF">2022-02-21T19:20:02Z</dcterms:created>
  <dcterms:modified xsi:type="dcterms:W3CDTF">2025-03-29T12:26:53Z</dcterms:modified>
</cp:coreProperties>
</file>